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7CFA518-1AA7-4027-A9AC-3956D15CEF62}"/>
    <pc:docChg chg="custSel modSld">
      <pc:chgData name="Weigel Stefan (PAR-EPS)" userId="fd3b2067-2981-4ad8-bf3a-d2e1004e4fa8" providerId="ADAL" clId="{A7CFA518-1AA7-4027-A9AC-3956D15CEF62}" dt="2024-01-23T18:27:30.900" v="171" actId="207"/>
      <pc:docMkLst>
        <pc:docMk/>
      </pc:docMkLst>
      <pc:sldChg chg="delSp modSp mod">
        <pc:chgData name="Weigel Stefan (PAR-EPS)" userId="fd3b2067-2981-4ad8-bf3a-d2e1004e4fa8" providerId="ADAL" clId="{A7CFA518-1AA7-4027-A9AC-3956D15CEF62}" dt="2024-01-23T18:27:30.900" v="171" actId="207"/>
        <pc:sldMkLst>
          <pc:docMk/>
          <pc:sldMk cId="2624746743" sldId="403"/>
        </pc:sldMkLst>
        <pc:spChg chg="mod">
          <ac:chgData name="Weigel Stefan (PAR-EPS)" userId="fd3b2067-2981-4ad8-bf3a-d2e1004e4fa8" providerId="ADAL" clId="{A7CFA518-1AA7-4027-A9AC-3956D15CEF62}" dt="2024-01-23T18:04:43.635" v="36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1.524" v="133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6.437" v="135" actId="6549"/>
          <ac:spMkLst>
            <pc:docMk/>
            <pc:sldMk cId="2624746743" sldId="403"/>
            <ac:spMk id="10" creationId="{00000000-0000-0000-0000-000000000000}"/>
          </ac:spMkLst>
        </pc:spChg>
        <pc:spChg chg="del">
          <ac:chgData name="Weigel Stefan (PAR-EPS)" userId="fd3b2067-2981-4ad8-bf3a-d2e1004e4fa8" providerId="ADAL" clId="{A7CFA518-1AA7-4027-A9AC-3956D15CEF62}" dt="2024-01-23T18:05:34.678" v="70" actId="478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A7CFA518-1AA7-4027-A9AC-3956D15CEF62}" dt="2024-01-23T18:21:34.435" v="140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7CFA518-1AA7-4027-A9AC-3956D15CEF62}" dt="2024-01-23T18:24:37.801" v="147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7CFA518-1AA7-4027-A9AC-3956D15CEF62}" dt="2024-01-23T18:27:30.900" v="171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Weigel Stefan (PAR-EPS)" userId="fd3b2067-2981-4ad8-bf3a-d2e1004e4fa8" providerId="ADAL" clId="{EB81A1CB-D627-494B-BFC7-3426A30C8785}"/>
    <pc:docChg chg="custSel modSld">
      <pc:chgData name="Weigel Stefan (PAR-EPS)" userId="fd3b2067-2981-4ad8-bf3a-d2e1004e4fa8" providerId="ADAL" clId="{EB81A1CB-D627-494B-BFC7-3426A30C8785}" dt="2024-02-13T16:32:23.503" v="63" actId="27918"/>
      <pc:docMkLst>
        <pc:docMk/>
      </pc:docMkLst>
      <pc:sldChg chg="modSp mod">
        <pc:chgData name="Weigel Stefan (PAR-EPS)" userId="fd3b2067-2981-4ad8-bf3a-d2e1004e4fa8" providerId="ADAL" clId="{EB81A1CB-D627-494B-BFC7-3426A30C8785}" dt="2024-02-13T16:32:23.503" v="63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EB81A1CB-D627-494B-BFC7-3426A30C8785}" dt="2024-01-24T11:18:33.777" v="15" actId="2711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B81A1CB-D627-494B-BFC7-3426A30C8785}" dt="2024-01-24T11:19:13.677" v="20" actId="6549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EB81A1CB-D627-494B-BFC7-3426A30C8785}" dt="2024-01-24T11:19:08.611" v="18" actId="20577"/>
          <ac:spMkLst>
            <pc:docMk/>
            <pc:sldMk cId="2624746743" sldId="403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EB81A1CB-D627-494B-BFC7-3426A30C8785}" dt="2024-01-24T11:20:26.994" v="33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EB81A1CB-D627-494B-BFC7-3426A30C8785}" dt="2024-01-24T11:20:20.595" v="31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5</c:f>
              <c:strCache>
                <c:ptCount val="3"/>
                <c:pt idx="0">
                  <c:v>Unaccompanied intermodal transport</c:v>
                </c:pt>
                <c:pt idx="1">
                  <c:v>Lorry shuttle</c:v>
                </c:pt>
                <c:pt idx="2">
                  <c:v>Wagonload freight</c:v>
                </c:pt>
              </c:strCache>
            </c:strRef>
          </c:cat>
          <c:val>
            <c:numRef>
              <c:f>data!$G$3:$G$5</c:f>
              <c:numCache>
                <c:formatCode>#,##0.0</c:formatCode>
                <c:ptCount val="3"/>
                <c:pt idx="0">
                  <c:v>17.815999999999999</c:v>
                </c:pt>
                <c:pt idx="1">
                  <c:v>2.5990000000000002</c:v>
                </c:pt>
                <c:pt idx="2">
                  <c:v>24.2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5</c:f>
              <c:strCache>
                <c:ptCount val="3"/>
                <c:pt idx="0">
                  <c:v>Unaccompanied intermodal transport</c:v>
                </c:pt>
                <c:pt idx="1">
                  <c:v>Lorry shuttle</c:v>
                </c:pt>
                <c:pt idx="2">
                  <c:v>Wagonload freight</c:v>
                </c:pt>
              </c:strCache>
            </c:strRef>
          </c:cat>
          <c:val>
            <c:numRef>
              <c:f>data!$G$3:$G$5</c:f>
              <c:numCache>
                <c:formatCode>#,##0</c:formatCode>
                <c:ptCount val="3"/>
                <c:pt idx="0">
                  <c:v>11180.437151230301</c:v>
                </c:pt>
                <c:pt idx="1">
                  <c:v>380.68342250439702</c:v>
                </c:pt>
                <c:pt idx="2">
                  <c:v>4743.4182078771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7.9115910377587334E-2"/>
          <c:y val="0.72713556662919787"/>
          <c:w val="0.563584481199919"/>
          <c:h val="0.16697345512314746"/>
        </c:manualLayout>
      </c:layout>
      <c:overlay val="0"/>
      <c:txPr>
        <a:bodyPr/>
        <a:lstStyle/>
        <a:p>
          <a:pPr>
            <a:defRPr sz="105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BB</a:t>
            </a:r>
            <a:r>
              <a:rPr lang="de-CH" dirty="0">
                <a:effectLst/>
              </a:rPr>
              <a:t>’</a:t>
            </a:r>
            <a:r>
              <a:rPr lang="en-US" dirty="0"/>
              <a:t>s rail freight by traffic type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89961623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255857757"/>
              </p:ext>
            </p:extLst>
          </p:nvPr>
        </p:nvGraphicFramePr>
        <p:xfrm>
          <a:off x="6096000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Share of freight volume (net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onne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</a:t>
            </a:r>
            <a:endParaRPr kumimoji="0" lang="de-CH" sz="10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7" y="1525442"/>
            <a:ext cx="3327739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Share of freight performance (net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onne-kilometre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55510" y="6092825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B15A6FD-40C3-4756-8999-A53960B7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’s rail freight by traffic typ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’s rail freight by traffic type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